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744" r:id="rId1"/>
  </p:sldMasterIdLst>
  <p:notesMasterIdLst>
    <p:notesMasterId r:id="rId27"/>
  </p:notesMasterIdLst>
  <p:sldIdLst>
    <p:sldId id="290" r:id="rId2"/>
    <p:sldId id="256" r:id="rId3"/>
    <p:sldId id="257" r:id="rId4"/>
    <p:sldId id="275" r:id="rId5"/>
    <p:sldId id="288" r:id="rId6"/>
    <p:sldId id="277" r:id="rId7"/>
    <p:sldId id="272" r:id="rId8"/>
    <p:sldId id="278" r:id="rId9"/>
    <p:sldId id="279" r:id="rId10"/>
    <p:sldId id="280" r:id="rId11"/>
    <p:sldId id="281" r:id="rId12"/>
    <p:sldId id="282" r:id="rId13"/>
    <p:sldId id="283" r:id="rId14"/>
    <p:sldId id="258" r:id="rId15"/>
    <p:sldId id="259" r:id="rId16"/>
    <p:sldId id="260" r:id="rId17"/>
    <p:sldId id="285" r:id="rId18"/>
    <p:sldId id="273" r:id="rId19"/>
    <p:sldId id="262" r:id="rId20"/>
    <p:sldId id="263" r:id="rId21"/>
    <p:sldId id="264" r:id="rId22"/>
    <p:sldId id="265" r:id="rId23"/>
    <p:sldId id="266" r:id="rId24"/>
    <p:sldId id="274" r:id="rId25"/>
    <p:sldId id="276" r:id="rId2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87433" autoAdjust="0"/>
  </p:normalViewPr>
  <p:slideViewPr>
    <p:cSldViewPr snapToGrid="0">
      <p:cViewPr varScale="1">
        <p:scale>
          <a:sx n="68" d="100"/>
          <a:sy n="68" d="100"/>
        </p:scale>
        <p:origin x="90" y="21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9225C9-0794-4AF9-9DD3-0F3C110FC951}" type="datetimeFigureOut">
              <a:rPr lang="en-US" smtClean="0"/>
              <a:t>3/7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00A55F-0EB0-497D-80D8-27C4D39E9F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87603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00A55F-0EB0-497D-80D8-27C4D39E9FC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948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01251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09600"/>
            <a:ext cx="8915399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06505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6972043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2438400"/>
            <a:ext cx="8915400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7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96423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7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8198978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27407"/>
            <a:ext cx="8915399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7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8818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73124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94812" y="627405"/>
            <a:ext cx="2207601" cy="5283817"/>
          </a:xfrm>
        </p:spPr>
        <p:txBody>
          <a:bodyPr vert="eaVert"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89212" y="627405"/>
            <a:ext cx="6477000" cy="528381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5418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e 21">
            <a:extLst>
              <a:ext uri="{FF2B5EF4-FFF2-40B4-BE49-F238E27FC236}">
                <a16:creationId xmlns:a16="http://schemas.microsoft.com/office/drawing/2014/main" xmlns="" id="{3DB2FB67-77DB-4CBD-9C92-DA7BCA020134}"/>
              </a:ext>
            </a:extLst>
          </p:cNvPr>
          <p:cNvGrpSpPr/>
          <p:nvPr userDrawn="1"/>
        </p:nvGrpSpPr>
        <p:grpSpPr>
          <a:xfrm>
            <a:off x="4632000" y="-23150"/>
            <a:ext cx="7560000" cy="6874296"/>
            <a:chOff x="3847179" y="1294078"/>
            <a:chExt cx="4118037" cy="3744526"/>
          </a:xfrm>
        </p:grpSpPr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xmlns="" id="{7B3D07D9-2D6C-4A90-84F6-F3E3AEFB2EA9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xmlns="" id="{9445503A-D671-42FD-8762-A4BB0BDDD6B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92000" y="549001"/>
            <a:ext cx="5392948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24001" y="4599973"/>
            <a:ext cx="3096000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6000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8853588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294967295" orient="horz" pos="3339">
          <p15:clr>
            <a:srgbClr val="FBAE40"/>
          </p15:clr>
        </p15:guide>
        <p15:guide id="4294967295" pos="25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77503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07807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2058750"/>
            <a:ext cx="8915399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3530129"/>
            <a:ext cx="8915399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87145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9212" y="2133600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47" y="2126222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7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78845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9373" y="1972703"/>
            <a:ext cx="399273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9212" y="2548966"/>
            <a:ext cx="4342893" cy="3354060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06629" y="1969475"/>
            <a:ext cx="399900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166957" y="2545738"/>
            <a:ext cx="4338674" cy="3354060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7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17407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7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85096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7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1626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446088"/>
            <a:ext cx="3505199" cy="976312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3012" y="446088"/>
            <a:ext cx="5181600" cy="5414963"/>
          </a:xfrm>
        </p:spPr>
        <p:txBody>
          <a:bodyPr anchor="ctr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2" y="1598613"/>
            <a:ext cx="3505199" cy="42624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7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06650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4800600"/>
            <a:ext cx="89154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589212" y="634965"/>
            <a:ext cx="8915400" cy="385497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367338"/>
            <a:ext cx="8915400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7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68573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157"/>
            <a:ext cx="2356674" cy="6853096"/>
            <a:chOff x="6627813" y="195610"/>
            <a:chExt cx="1952625" cy="5678141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5610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smtClean="0"/>
              <a:pPr/>
              <a:t>3/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2604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  <p:sldLayoutId id="2147483756" r:id="rId12"/>
    <p:sldLayoutId id="2147483757" r:id="rId13"/>
    <p:sldLayoutId id="2147483758" r:id="rId14"/>
    <p:sldLayoutId id="2147483759" r:id="rId15"/>
    <p:sldLayoutId id="2147483760" r:id="rId16"/>
    <p:sldLayoutId id="2147483761" r:id="rId17"/>
    <p:sldLayoutId id="2147483762" r:id="rId18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2">
              <a:lumMod val="7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xmlns="" id="{61B8B409-591E-4F4C-BDA2-E292A2B3E0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48775" y="381000"/>
            <a:ext cx="6611816" cy="2058654"/>
          </a:xfrm>
        </p:spPr>
        <p:txBody>
          <a:bodyPr/>
          <a:lstStyle/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NALYSIS ON  TERRORISM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xmlns="" id="{B479E337-09CA-4F50-9067-64D4BC4D4C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20444" y="4965895"/>
            <a:ext cx="2715064" cy="351694"/>
          </a:xfrm>
        </p:spPr>
        <p:txBody>
          <a:bodyPr>
            <a:noAutofit/>
          </a:bodyPr>
          <a:lstStyle/>
          <a:p>
            <a:r>
              <a:rPr lang="en-US" sz="2400" b="1" dirty="0" smtClean="0"/>
              <a:t>K.DIVYA VANI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1476108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5561" y="624110"/>
            <a:ext cx="9779051" cy="1280890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ading data into HDFS:</a:t>
            </a:r>
            <a:endParaRPr 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381" r="4872" b="3259"/>
          <a:stretch/>
        </p:blipFill>
        <p:spPr>
          <a:xfrm>
            <a:off x="1725561" y="1905000"/>
            <a:ext cx="9630697" cy="4274574"/>
          </a:xfrm>
        </p:spPr>
      </p:pic>
    </p:spTree>
    <p:extLst>
      <p:ext uri="{BB962C8B-B14F-4D97-AF65-F5344CB8AC3E}">
        <p14:creationId xmlns:p14="http://schemas.microsoft.com/office/powerpoint/2010/main" val="4192607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5421" y="624110"/>
            <a:ext cx="9739192" cy="1280890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reating fact table in hive:</a:t>
            </a:r>
            <a:endParaRPr 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853" r="40013" b="5393"/>
          <a:stretch/>
        </p:blipFill>
        <p:spPr>
          <a:xfrm>
            <a:off x="1765420" y="3067663"/>
            <a:ext cx="10015025" cy="2005781"/>
          </a:xfrm>
        </p:spPr>
      </p:pic>
    </p:spTree>
    <p:extLst>
      <p:ext uri="{BB962C8B-B14F-4D97-AF65-F5344CB8AC3E}">
        <p14:creationId xmlns:p14="http://schemas.microsoft.com/office/powerpoint/2010/main" val="2262155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reating dimension table in hive:</a:t>
            </a:r>
            <a:endParaRPr 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77848" r="65374" b="6186"/>
          <a:stretch/>
        </p:blipFill>
        <p:spPr>
          <a:xfrm>
            <a:off x="2592925" y="2123769"/>
            <a:ext cx="5326959" cy="2875934"/>
          </a:xfrm>
        </p:spPr>
      </p:pic>
    </p:spTree>
    <p:extLst>
      <p:ext uri="{BB962C8B-B14F-4D97-AF65-F5344CB8AC3E}">
        <p14:creationId xmlns:p14="http://schemas.microsoft.com/office/powerpoint/2010/main" val="2360141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68013" y="624110"/>
            <a:ext cx="9336599" cy="1280890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ading data into hive:</a:t>
            </a:r>
            <a:endParaRPr 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89" t="77096" r="45028" b="6186"/>
          <a:stretch/>
        </p:blipFill>
        <p:spPr>
          <a:xfrm>
            <a:off x="2168013" y="2344992"/>
            <a:ext cx="8908026" cy="3141407"/>
          </a:xfrm>
        </p:spPr>
      </p:pic>
    </p:spTree>
    <p:extLst>
      <p:ext uri="{BB962C8B-B14F-4D97-AF65-F5344CB8AC3E}">
        <p14:creationId xmlns:p14="http://schemas.microsoft.com/office/powerpoint/2010/main" val="1456951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5554" y="624110"/>
            <a:ext cx="9718765" cy="1280890"/>
          </a:xfrm>
        </p:spPr>
        <p:txBody>
          <a:bodyPr>
            <a:noAutofit/>
          </a:bodyPr>
          <a:lstStyle/>
          <a:p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Year-wise </a:t>
            </a: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ath frequency caused by </a:t>
            </a:r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rrorism:</a:t>
            </a:r>
            <a:endParaRPr 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3" t="72844" r="63503" b="16793"/>
          <a:stretch/>
        </p:blipFill>
        <p:spPr>
          <a:xfrm>
            <a:off x="1985554" y="2462981"/>
            <a:ext cx="8856618" cy="1828799"/>
          </a:xfrm>
        </p:spPr>
      </p:pic>
    </p:spTree>
    <p:extLst>
      <p:ext uri="{BB962C8B-B14F-4D97-AF65-F5344CB8AC3E}">
        <p14:creationId xmlns:p14="http://schemas.microsoft.com/office/powerpoint/2010/main" val="258076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497" y="624110"/>
            <a:ext cx="9323115" cy="1280890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raphs represents the people killed in different years in terrorist activities: </a:t>
            </a:r>
            <a:endParaRPr 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1497" y="2470986"/>
            <a:ext cx="9065623" cy="4010298"/>
          </a:xfrm>
        </p:spPr>
      </p:pic>
    </p:spTree>
    <p:extLst>
      <p:ext uri="{BB962C8B-B14F-4D97-AF65-F5344CB8AC3E}">
        <p14:creationId xmlns:p14="http://schemas.microsoft.com/office/powerpoint/2010/main" val="137791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5555" y="624110"/>
            <a:ext cx="9519058" cy="1280890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ttack type death frequency caused by terrorism:</a:t>
            </a: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5" t="62747" r="61153" b="27354"/>
          <a:stretch/>
        </p:blipFill>
        <p:spPr>
          <a:xfrm>
            <a:off x="1985555" y="2070846"/>
            <a:ext cx="9274628" cy="2608729"/>
          </a:xfrm>
        </p:spPr>
      </p:pic>
    </p:spTree>
    <p:extLst>
      <p:ext uri="{BB962C8B-B14F-4D97-AF65-F5344CB8AC3E}">
        <p14:creationId xmlns:p14="http://schemas.microsoft.com/office/powerpoint/2010/main" val="3556460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Query Output: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735" r="2220"/>
          <a:stretch/>
        </p:blipFill>
        <p:spPr>
          <a:xfrm>
            <a:off x="678426" y="1740310"/>
            <a:ext cx="10058399" cy="3834580"/>
          </a:xfrm>
        </p:spPr>
      </p:pic>
    </p:spTree>
    <p:extLst>
      <p:ext uri="{BB962C8B-B14F-4D97-AF65-F5344CB8AC3E}">
        <p14:creationId xmlns:p14="http://schemas.microsoft.com/office/powerpoint/2010/main" val="3867097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1" y="624110"/>
            <a:ext cx="9542205" cy="1280890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raphs represents </a:t>
            </a:r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people killed </a:t>
            </a: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 different </a:t>
            </a:r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ttack types </a:t>
            </a: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 terrorist activities: 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56" t="33692" r="17492" b="10471"/>
          <a:stretch/>
        </p:blipFill>
        <p:spPr>
          <a:xfrm>
            <a:off x="2286001" y="2583919"/>
            <a:ext cx="8020594" cy="4023359"/>
          </a:xfrm>
        </p:spPr>
      </p:pic>
    </p:spTree>
    <p:extLst>
      <p:ext uri="{BB962C8B-B14F-4D97-AF65-F5344CB8AC3E}">
        <p14:creationId xmlns:p14="http://schemas.microsoft.com/office/powerpoint/2010/main" val="3809491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7858" y="848356"/>
            <a:ext cx="10413233" cy="1280890"/>
          </a:xfrm>
        </p:spPr>
        <p:txBody>
          <a:bodyPr>
            <a:normAutofit/>
          </a:bodyPr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untry-wise death frequency caused by terrorism:</a:t>
            </a: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3" t="49671" r="60481" b="34425"/>
          <a:stretch/>
        </p:blipFill>
        <p:spPr>
          <a:xfrm>
            <a:off x="1875997" y="1893271"/>
            <a:ext cx="8987246" cy="1454613"/>
          </a:xfrm>
        </p:spPr>
      </p:pic>
      <p:pic>
        <p:nvPicPr>
          <p:cNvPr id="5" name="Content Placeholder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371" r="4115"/>
          <a:stretch/>
        </p:blipFill>
        <p:spPr>
          <a:xfrm>
            <a:off x="1534267" y="3556819"/>
            <a:ext cx="9940413" cy="2814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970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16916" y="5340520"/>
            <a:ext cx="8915399" cy="1126283"/>
          </a:xfrm>
        </p:spPr>
        <p:txBody>
          <a:bodyPr/>
          <a:lstStyle/>
          <a:p>
            <a:r>
              <a:rPr lang="en-US" dirty="0" smtClean="0"/>
              <a:t>												</a:t>
            </a:r>
            <a:endParaRPr lang="en-US" sz="32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727" t="23763" r="5195" b="52676"/>
          <a:stretch/>
        </p:blipFill>
        <p:spPr>
          <a:xfrm>
            <a:off x="1770168" y="1224116"/>
            <a:ext cx="9734444" cy="3968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47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428167"/>
            <a:ext cx="8911687" cy="1280890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raphs represents the </a:t>
            </a:r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umber of groups in </a:t>
            </a:r>
            <a:r>
              <a:rPr lang="en-US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dia </a:t>
            </a: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 terrorist activities: 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5936" y="2831934"/>
            <a:ext cx="3781953" cy="2381582"/>
          </a:xfrm>
        </p:spPr>
      </p:pic>
    </p:spTree>
    <p:extLst>
      <p:ext uri="{BB962C8B-B14F-4D97-AF65-F5344CB8AC3E}">
        <p14:creationId xmlns:p14="http://schemas.microsoft.com/office/powerpoint/2010/main" val="2261477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38251" y="624110"/>
            <a:ext cx="9166361" cy="1280890"/>
          </a:xfrm>
        </p:spPr>
        <p:txBody>
          <a:bodyPr>
            <a:noAutofit/>
          </a:bodyPr>
          <a:lstStyle/>
          <a:p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ttack type-wise </a:t>
            </a: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</a:t>
            </a:r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ath Frequency caused by terrorism:</a:t>
            </a: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8251" y="2355108"/>
            <a:ext cx="9074921" cy="3422468"/>
          </a:xfrm>
        </p:spPr>
      </p:pic>
    </p:spTree>
    <p:extLst>
      <p:ext uri="{BB962C8B-B14F-4D97-AF65-F5344CB8AC3E}">
        <p14:creationId xmlns:p14="http://schemas.microsoft.com/office/powerpoint/2010/main" val="832422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raphs represents the </a:t>
            </a:r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eople killed in </a:t>
            </a: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fferent </a:t>
            </a:r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ttack type </a:t>
            </a: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 terrorist activities: 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2925" y="2282630"/>
            <a:ext cx="8562755" cy="3944982"/>
          </a:xfrm>
        </p:spPr>
      </p:pic>
    </p:spTree>
    <p:extLst>
      <p:ext uri="{BB962C8B-B14F-4D97-AF65-F5344CB8AC3E}">
        <p14:creationId xmlns:p14="http://schemas.microsoft.com/office/powerpoint/2010/main" val="3126258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51819" y="604684"/>
            <a:ext cx="9852793" cy="1300316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stinct Attack  Types:</a:t>
            </a:r>
            <a:endParaRPr 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1819" y="1651820"/>
            <a:ext cx="10182285" cy="1356852"/>
          </a:xfrm>
        </p:spPr>
      </p:pic>
      <p:pic>
        <p:nvPicPr>
          <p:cNvPr id="5" name="Content Placeholder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3923" y="3200401"/>
            <a:ext cx="5680920" cy="3050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363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84557" y="624110"/>
            <a:ext cx="9720056" cy="1280890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raphs represents the </a:t>
            </a:r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fferent group attacktypes in </a:t>
            </a: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rrorist </a:t>
            </a:r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ctivities:</a:t>
            </a:r>
            <a:endParaRPr 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383" t="22012" r="23654" b="42377"/>
          <a:stretch/>
        </p:blipFill>
        <p:spPr>
          <a:xfrm>
            <a:off x="1784557" y="2340359"/>
            <a:ext cx="8941738" cy="4310742"/>
          </a:xfrm>
        </p:spPr>
      </p:pic>
    </p:spTree>
    <p:extLst>
      <p:ext uri="{BB962C8B-B14F-4D97-AF65-F5344CB8AC3E}">
        <p14:creationId xmlns:p14="http://schemas.microsoft.com/office/powerpoint/2010/main" val="2575377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4" name="Content Placeholder 13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316" t="26409" r="25783" b="24223"/>
          <a:stretch/>
        </p:blipFill>
        <p:spPr>
          <a:xfrm>
            <a:off x="1755058" y="191728"/>
            <a:ext cx="9749553" cy="5663382"/>
          </a:xfrm>
        </p:spPr>
      </p:pic>
    </p:spTree>
    <p:extLst>
      <p:ext uri="{BB962C8B-B14F-4D97-AF65-F5344CB8AC3E}">
        <p14:creationId xmlns:p14="http://schemas.microsoft.com/office/powerpoint/2010/main" val="1865303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1222" y="4127863"/>
            <a:ext cx="9006891" cy="1920240"/>
          </a:xfrm>
        </p:spPr>
        <p:txBody>
          <a:bodyPr>
            <a:noAutofit/>
          </a:bodyPr>
          <a:lstStyle/>
          <a:p>
            <a:pPr marL="88900" lvl="1" indent="0"/>
            <a:r>
              <a:rPr lang="en-US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rrorism 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 the systematic use of terror.</a:t>
            </a:r>
            <a:b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mon definition of terrorism refer only to </a:t>
            </a:r>
            <a:r>
              <a:rPr lang="en-US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ose violent 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cts which are intended to </a:t>
            </a:r>
            <a:r>
              <a:rPr lang="en-US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reate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ear</a:t>
            </a:r>
            <a:r>
              <a:rPr lang="en-GB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br>
              <a:rPr lang="en-GB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sz="2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31222" y="391886"/>
            <a:ext cx="8810949" cy="3414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515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795" y="666206"/>
            <a:ext cx="9884818" cy="1238794"/>
          </a:xfrm>
        </p:spPr>
        <p:txBody>
          <a:bodyPr>
            <a:normAutofit/>
          </a:bodyPr>
          <a:lstStyle/>
          <a:p>
            <a:r>
              <a:rPr lang="en-US" sz="3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HY TO ANALYSE TERRORISM DATASET</a:t>
            </a:r>
            <a:r>
              <a:rPr lang="en-US" sz="3200" dirty="0" smtClean="0">
                <a:solidFill>
                  <a:schemeClr val="tx1"/>
                </a:solidFill>
              </a:rPr>
              <a:t>?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19795" y="1554480"/>
            <a:ext cx="9884817" cy="992777"/>
          </a:xfrm>
        </p:spPr>
        <p:txBody>
          <a:bodyPr>
            <a:normAutofit/>
          </a:bodyPr>
          <a:lstStyle/>
          <a:p>
            <a:pPr algn="just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o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gather information from the pattern of attacks happening around to help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nd to reduce terrorism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ttacks</a:t>
            </a:r>
          </a:p>
        </p:txBody>
      </p:sp>
      <p:sp>
        <p:nvSpPr>
          <p:cNvPr id="4" name="Rectangle 3"/>
          <p:cNvSpPr/>
          <p:nvPr/>
        </p:nvSpPr>
        <p:spPr>
          <a:xfrm>
            <a:off x="1619794" y="2547257"/>
            <a:ext cx="10015025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HAT 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 ANALYSE</a:t>
            </a:r>
            <a:r>
              <a:rPr lang="en-US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?</a:t>
            </a:r>
          </a:p>
          <a:p>
            <a:pPr algn="just"/>
            <a:endParaRPr lang="en-US" sz="3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GB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 </a:t>
            </a:r>
            <a:r>
              <a:rPr lang="en-GB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ource dataset to analyse contains records of terrorist activities that happened around the world from 1970 to 2017</a:t>
            </a:r>
            <a:r>
              <a:rPr lang="en-GB" sz="2400" dirty="0" smtClean="0"/>
              <a:t>.</a:t>
            </a:r>
          </a:p>
          <a:p>
            <a:pPr algn="just"/>
            <a:endParaRPr lang="en-GB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GB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 </a:t>
            </a:r>
            <a:r>
              <a:rPr lang="en-GB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ataset contains 11 columns namely Year, Month, Day, Country, Region, City, Attack_type, killed, Group, Target_type, Weapon_type</a:t>
            </a:r>
          </a:p>
          <a:p>
            <a:endParaRPr lang="en-GB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GB" sz="3600" dirty="0"/>
          </a:p>
          <a:p>
            <a:endParaRPr lang="en-US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8707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596646" indent="-514350">
              <a:buFont typeface="Arial" panose="020B0604020202020204" pitchFamily="34" charset="0"/>
              <a:buChar char="•"/>
            </a:pPr>
            <a:r>
              <a:rPr lang="en-IN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alend </a:t>
            </a:r>
            <a:r>
              <a:rPr 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It is used to clean data </a:t>
            </a:r>
            <a:r>
              <a:rPr lang="en-IN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nd loading of </a:t>
            </a:r>
          </a:p>
          <a:p>
            <a:pPr marL="82296"/>
            <a:r>
              <a:rPr 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IN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data.</a:t>
            </a:r>
          </a:p>
          <a:p>
            <a:pPr marL="596646" indent="-514350">
              <a:buFont typeface="Arial" panose="020B0604020202020204" pitchFamily="34" charset="0"/>
              <a:buChar char="•"/>
            </a:pPr>
            <a:endParaRPr lang="en-IN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96646" indent="-51435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DFS: It is used as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main storage file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ystem</a:t>
            </a:r>
            <a:endParaRPr lang="en-IN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2296"/>
            <a:endParaRPr lang="en-IN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96646" indent="-514350">
              <a:buFont typeface="Arial" panose="020B0604020202020204" pitchFamily="34" charset="0"/>
              <a:buChar char="•"/>
            </a:pPr>
            <a:r>
              <a:rPr lang="en-IN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ive</a:t>
            </a:r>
            <a:r>
              <a:rPr 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It is used to run all the queries  that are used </a:t>
            </a:r>
            <a:endParaRPr lang="en-IN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2296"/>
            <a:r>
              <a:rPr 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IN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to </a:t>
            </a:r>
            <a:r>
              <a:rPr 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alyse the data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ols used:</a:t>
            </a:r>
            <a:endParaRPr 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12" descr="Image result for hdf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4562" y="2639750"/>
            <a:ext cx="1732745" cy="1732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14" descr="Image result for hiv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2262" y="4556710"/>
            <a:ext cx="1505045" cy="949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706" name="Picture 2" descr="talend-logo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2913" y="1540873"/>
            <a:ext cx="2196042" cy="131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9841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6348" y="314394"/>
            <a:ext cx="9713643" cy="1280890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FLOW CHART:</a:t>
            </a:r>
            <a:endParaRPr 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6348" y="2128445"/>
            <a:ext cx="10515600" cy="5009774"/>
          </a:xfrm>
        </p:spPr>
      </p:pic>
    </p:spTree>
    <p:extLst>
      <p:ext uri="{BB962C8B-B14F-4D97-AF65-F5344CB8AC3E}">
        <p14:creationId xmlns:p14="http://schemas.microsoft.com/office/powerpoint/2010/main" val="2470859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7575" y="624110"/>
            <a:ext cx="9897038" cy="1280890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 MODEL:</a:t>
            </a:r>
            <a:endParaRPr 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632" y="1209368"/>
            <a:ext cx="10539199" cy="5397909"/>
          </a:xfrm>
        </p:spPr>
      </p:pic>
    </p:spTree>
    <p:extLst>
      <p:ext uri="{BB962C8B-B14F-4D97-AF65-F5344CB8AC3E}">
        <p14:creationId xmlns:p14="http://schemas.microsoft.com/office/powerpoint/2010/main" val="1467030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917" y="624110"/>
            <a:ext cx="11164528" cy="1280890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Creating fact table:</a:t>
            </a:r>
            <a:endParaRPr 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15" t="4662" r="23428" b="17897"/>
          <a:stretch/>
        </p:blipFill>
        <p:spPr>
          <a:xfrm>
            <a:off x="943897" y="1533831"/>
            <a:ext cx="10368115" cy="5324169"/>
          </a:xfrm>
        </p:spPr>
      </p:pic>
    </p:spTree>
    <p:extLst>
      <p:ext uri="{BB962C8B-B14F-4D97-AF65-F5344CB8AC3E}">
        <p14:creationId xmlns:p14="http://schemas.microsoft.com/office/powerpoint/2010/main" val="3393210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22323" y="624110"/>
            <a:ext cx="9882290" cy="1280890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reating dimension tables:</a:t>
            </a:r>
            <a:endParaRPr 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05" t="9694" r="20334" b="57205"/>
          <a:stretch/>
        </p:blipFill>
        <p:spPr>
          <a:xfrm>
            <a:off x="1622322" y="2153264"/>
            <a:ext cx="9733935" cy="3731341"/>
          </a:xfrm>
        </p:spPr>
      </p:pic>
    </p:spTree>
    <p:extLst>
      <p:ext uri="{BB962C8B-B14F-4D97-AF65-F5344CB8AC3E}">
        <p14:creationId xmlns:p14="http://schemas.microsoft.com/office/powerpoint/2010/main" val="1533121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isp">
  <a:themeElements>
    <a:clrScheme name="Wisp">
      <a:dk1>
        <a:sysClr val="windowText" lastClr="000000"/>
      </a:dk1>
      <a:lt1>
        <a:sysClr val="window" lastClr="FFFFFF"/>
      </a:lt1>
      <a:dk2>
        <a:srgbClr val="2E5369"/>
      </a:dk2>
      <a:lt2>
        <a:srgbClr val="CFE2E7"/>
      </a:lt2>
      <a:accent1>
        <a:srgbClr val="353535"/>
      </a:accent1>
      <a:accent2>
        <a:srgbClr val="31B4E6"/>
      </a:accent2>
      <a:accent3>
        <a:srgbClr val="265991"/>
      </a:accent3>
      <a:accent4>
        <a:srgbClr val="7E40CC"/>
      </a:accent4>
      <a:accent5>
        <a:srgbClr val="B927E9"/>
      </a:accent5>
      <a:accent6>
        <a:srgbClr val="E833BF"/>
      </a:accent6>
      <a:hlink>
        <a:srgbClr val="2DA0F1"/>
      </a:hlink>
      <a:folHlink>
        <a:srgbClr val="7ED1E6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4F34B87B-9C7A-41AE-A6CB-48536223DFF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isp</Template>
  <TotalTime>1154</TotalTime>
  <Words>270</Words>
  <Application>Microsoft Office PowerPoint</Application>
  <PresentationFormat>Widescreen</PresentationFormat>
  <Paragraphs>40</Paragraphs>
  <Slides>2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2" baseType="lpstr">
      <vt:lpstr>Arial</vt:lpstr>
      <vt:lpstr>Calibri</vt:lpstr>
      <vt:lpstr>Century Gothic</vt:lpstr>
      <vt:lpstr>Times New Roman</vt:lpstr>
      <vt:lpstr>Wingdings 3</vt:lpstr>
      <vt:lpstr>Wisp</vt:lpstr>
      <vt:lpstr>think-cell Slide</vt:lpstr>
      <vt:lpstr>PowerPoint Presentation</vt:lpstr>
      <vt:lpstr>PowerPoint Presentation</vt:lpstr>
      <vt:lpstr>Terrorism is the systematic use of terror. Common definition of terrorism refer only to those violent acts which are intended to create fear. </vt:lpstr>
      <vt:lpstr>WHY TO ANALYSE TERRORISM DATASET?</vt:lpstr>
      <vt:lpstr>Tools used:</vt:lpstr>
      <vt:lpstr> FLOW CHART:</vt:lpstr>
      <vt:lpstr>DATA MODEL:</vt:lpstr>
      <vt:lpstr>        Creating fact table:</vt:lpstr>
      <vt:lpstr>Creating dimension tables:</vt:lpstr>
      <vt:lpstr>Loading data into HDFS:</vt:lpstr>
      <vt:lpstr>Creating fact table in hive:</vt:lpstr>
      <vt:lpstr>Creating dimension table in hive:</vt:lpstr>
      <vt:lpstr>Loading data into hive:</vt:lpstr>
      <vt:lpstr>Year-wise death frequency caused by terrorism:</vt:lpstr>
      <vt:lpstr>Graphs represents the people killed in different years in terrorist activities: </vt:lpstr>
      <vt:lpstr>Attack type death frequency caused by terrorism: </vt:lpstr>
      <vt:lpstr>Query Output:</vt:lpstr>
      <vt:lpstr>Graphs represents the people killed in different attack types in terrorist activities: </vt:lpstr>
      <vt:lpstr>Country-wise death frequency caused by terrorism: </vt:lpstr>
      <vt:lpstr>Graphs represents the number of groups in india in terrorist activities: </vt:lpstr>
      <vt:lpstr>Attack type-wise death Frequency caused by terrorism: </vt:lpstr>
      <vt:lpstr>Graphs represents the people killed in different attack type in terrorist activities: </vt:lpstr>
      <vt:lpstr>Distinct Attack  Types:</vt:lpstr>
      <vt:lpstr>Graphs represents the different group attacktypes in terrorist activities:</vt:lpstr>
      <vt:lpstr>PowerPoint Presentation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arning</dc:creator>
  <cp:lastModifiedBy>learning</cp:lastModifiedBy>
  <cp:revision>42</cp:revision>
  <dcterms:created xsi:type="dcterms:W3CDTF">2020-03-03T04:37:12Z</dcterms:created>
  <dcterms:modified xsi:type="dcterms:W3CDTF">2020-03-07T10:29:16Z</dcterms:modified>
</cp:coreProperties>
</file>